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258" r:id="rId5"/>
    <p:sldId id="321" r:id="rId6"/>
    <p:sldId id="301" r:id="rId7"/>
    <p:sldId id="275" r:id="rId8"/>
    <p:sldId id="306" r:id="rId9"/>
    <p:sldId id="320" r:id="rId10"/>
    <p:sldId id="267" r:id="rId11"/>
    <p:sldId id="278" r:id="rId12"/>
    <p:sldId id="309" r:id="rId13"/>
    <p:sldId id="322" r:id="rId14"/>
    <p:sldId id="323" r:id="rId15"/>
    <p:sldId id="325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>
        <p:scale>
          <a:sx n="53" d="100"/>
          <a:sy n="53" d="100"/>
        </p:scale>
        <p:origin x="-1806" y="-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9/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9/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9/9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September 9, 2016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ject Name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cts Found…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Adequacy 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Effectiveness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acebelity</a:t>
            </a:r>
            <a:r>
              <a:rPr lang="en-US" dirty="0" smtClean="0"/>
              <a:t> Matrix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 smtClean="0"/>
              <a:t>Actor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TEST CASES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 Ite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q"/>
            </a:pPr>
            <a:endParaRPr lang="en-US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880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/>
              <a:t>Requirements Validation And Functional Decomposition</a:t>
            </a:r>
            <a:endParaRPr lang="en-IN" sz="2400" b="1" dirty="0"/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FD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1</TotalTime>
  <Words>81</Words>
  <Application>Microsoft Office PowerPoint</Application>
  <PresentationFormat>On-screen Show (4:3)</PresentationFormat>
  <Paragraphs>38</Paragraphs>
  <Slides>1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Executive</vt:lpstr>
      <vt:lpstr>Office Theme</vt:lpstr>
      <vt:lpstr>PowerPoint Presentation</vt:lpstr>
      <vt:lpstr>TEAM MEMBERS</vt:lpstr>
      <vt:lpstr>OVERVIEW OF THE PROJECT</vt:lpstr>
      <vt:lpstr>Actors</vt:lpstr>
      <vt:lpstr>PowerPoint Presentation</vt:lpstr>
      <vt:lpstr>Requirement Itemization</vt:lpstr>
      <vt:lpstr>PowerPoint Presentation</vt:lpstr>
      <vt:lpstr>Use cases 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Dayanand S Patil</cp:lastModifiedBy>
  <cp:revision>109</cp:revision>
  <dcterms:created xsi:type="dcterms:W3CDTF">2015-08-27T08:52:20Z</dcterms:created>
  <dcterms:modified xsi:type="dcterms:W3CDTF">2016-09-09T07:26:26Z</dcterms:modified>
</cp:coreProperties>
</file>